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468000" y="2879999"/>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fdffdfdfdfdf</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